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D8FCC4-9AF5-44CC-973B-0DC331DE3757}" v="5" dt="2024-09-16T08:22:01.2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the, Anshul S SBOBNG-PTIV/RA" userId="dab23bb9-036c-4bec-b836-4f0af9c9f5f1" providerId="ADAL" clId="{A8D8FCC4-9AF5-44CC-973B-0DC331DE3757}"/>
    <pc:docChg chg="custSel modSld">
      <pc:chgData name="Sathe, Anshul S SBOBNG-PTIV/RA" userId="dab23bb9-036c-4bec-b836-4f0af9c9f5f1" providerId="ADAL" clId="{A8D8FCC4-9AF5-44CC-973B-0DC331DE3757}" dt="2024-09-16T08:22:08.839" v="1566" actId="1076"/>
      <pc:docMkLst>
        <pc:docMk/>
      </pc:docMkLst>
      <pc:sldChg chg="modSp mod">
        <pc:chgData name="Sathe, Anshul S SBOBNG-PTIV/RA" userId="dab23bb9-036c-4bec-b836-4f0af9c9f5f1" providerId="ADAL" clId="{A8D8FCC4-9AF5-44CC-973B-0DC331DE3757}" dt="2024-09-16T08:04:00.863" v="12" actId="20577"/>
        <pc:sldMkLst>
          <pc:docMk/>
          <pc:sldMk cId="3267775274" sldId="256"/>
        </pc:sldMkLst>
        <pc:spChg chg="mod">
          <ac:chgData name="Sathe, Anshul S SBOBNG-PTIV/RA" userId="dab23bb9-036c-4bec-b836-4f0af9c9f5f1" providerId="ADAL" clId="{A8D8FCC4-9AF5-44CC-973B-0DC331DE3757}" dt="2024-09-16T08:03:45.518" v="1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athe, Anshul S SBOBNG-PTIV/RA" userId="dab23bb9-036c-4bec-b836-4f0af9c9f5f1" providerId="ADAL" clId="{A8D8FCC4-9AF5-44CC-973B-0DC331DE3757}" dt="2024-09-16T08:04:00.863" v="12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Sathe, Anshul S SBOBNG-PTIV/RA" userId="dab23bb9-036c-4bec-b836-4f0af9c9f5f1" providerId="ADAL" clId="{A8D8FCC4-9AF5-44CC-973B-0DC331DE3757}" dt="2024-09-16T08:17:41.592" v="1545" actId="27614"/>
        <pc:sldMkLst>
          <pc:docMk/>
          <pc:sldMk cId="245881457" sldId="2147375597"/>
        </pc:sldMkLst>
        <pc:spChg chg="mod">
          <ac:chgData name="Sathe, Anshul S SBOBNG-PTIV/RA" userId="dab23bb9-036c-4bec-b836-4f0af9c9f5f1" providerId="ADAL" clId="{A8D8FCC4-9AF5-44CC-973B-0DC331DE3757}" dt="2024-09-16T08:05:20.345" v="155" actId="20577"/>
          <ac:spMkLst>
            <pc:docMk/>
            <pc:sldMk cId="245881457" sldId="2147375597"/>
            <ac:spMk id="11" creationId="{DE9F1BE0-7910-FA1B-DCE8-56EFD1E4FC09}"/>
          </ac:spMkLst>
        </pc:spChg>
        <pc:picChg chg="add mod">
          <ac:chgData name="Sathe, Anshul S SBOBNG-PTIV/RA" userId="dab23bb9-036c-4bec-b836-4f0af9c9f5f1" providerId="ADAL" clId="{A8D8FCC4-9AF5-44CC-973B-0DC331DE3757}" dt="2024-09-16T08:17:41.592" v="1545" actId="27614"/>
          <ac:picMkLst>
            <pc:docMk/>
            <pc:sldMk cId="245881457" sldId="2147375597"/>
            <ac:picMk id="5" creationId="{E8B2A0AC-44EE-9A44-2452-11EE34274791}"/>
          </ac:picMkLst>
        </pc:picChg>
        <pc:picChg chg="del">
          <ac:chgData name="Sathe, Anshul S SBOBNG-PTIV/RA" userId="dab23bb9-036c-4bec-b836-4f0af9c9f5f1" providerId="ADAL" clId="{A8D8FCC4-9AF5-44CC-973B-0DC331DE3757}" dt="2024-09-16T08:17:05.942" v="1541" actId="478"/>
          <ac:picMkLst>
            <pc:docMk/>
            <pc:sldMk cId="245881457" sldId="2147375597"/>
            <ac:picMk id="14" creationId="{FCABA703-642E-E16E-7F04-E64C8A9AD85E}"/>
          </ac:picMkLst>
        </pc:picChg>
      </pc:sldChg>
      <pc:sldChg chg="addSp delSp modSp mod">
        <pc:chgData name="Sathe, Anshul S SBOBNG-PTIV/RA" userId="dab23bb9-036c-4bec-b836-4f0af9c9f5f1" providerId="ADAL" clId="{A8D8FCC4-9AF5-44CC-973B-0DC331DE3757}" dt="2024-09-16T08:18:23.151" v="1550" actId="962"/>
        <pc:sldMkLst>
          <pc:docMk/>
          <pc:sldMk cId="1181112711" sldId="2147375600"/>
        </pc:sldMkLst>
        <pc:spChg chg="mod">
          <ac:chgData name="Sathe, Anshul S SBOBNG-PTIV/RA" userId="dab23bb9-036c-4bec-b836-4f0af9c9f5f1" providerId="ADAL" clId="{A8D8FCC4-9AF5-44CC-973B-0DC331DE3757}" dt="2024-09-16T08:06:45.953" v="342" actId="20577"/>
          <ac:spMkLst>
            <pc:docMk/>
            <pc:sldMk cId="1181112711" sldId="2147375600"/>
            <ac:spMk id="11" creationId="{DE9F1BE0-7910-FA1B-DCE8-56EFD1E4FC09}"/>
          </ac:spMkLst>
        </pc:spChg>
        <pc:picChg chg="add mod">
          <ac:chgData name="Sathe, Anshul S SBOBNG-PTIV/RA" userId="dab23bb9-036c-4bec-b836-4f0af9c9f5f1" providerId="ADAL" clId="{A8D8FCC4-9AF5-44CC-973B-0DC331DE3757}" dt="2024-09-16T08:18:23.151" v="1550" actId="962"/>
          <ac:picMkLst>
            <pc:docMk/>
            <pc:sldMk cId="1181112711" sldId="2147375600"/>
            <ac:picMk id="5" creationId="{A752031F-D4F7-7F44-B6CE-0B3EA223CA08}"/>
          </ac:picMkLst>
        </pc:picChg>
        <pc:picChg chg="del">
          <ac:chgData name="Sathe, Anshul S SBOBNG-PTIV/RA" userId="dab23bb9-036c-4bec-b836-4f0af9c9f5f1" providerId="ADAL" clId="{A8D8FCC4-9AF5-44CC-973B-0DC331DE3757}" dt="2024-09-16T08:18:18.069" v="1547" actId="478"/>
          <ac:picMkLst>
            <pc:docMk/>
            <pc:sldMk cId="1181112711" sldId="2147375600"/>
            <ac:picMk id="6" creationId="{F0449433-82B0-7CC8-DED1-D63F51D5A9AB}"/>
          </ac:picMkLst>
        </pc:picChg>
      </pc:sldChg>
      <pc:sldChg chg="addSp delSp modSp mod">
        <pc:chgData name="Sathe, Anshul S SBOBNG-PTIV/RA" userId="dab23bb9-036c-4bec-b836-4f0af9c9f5f1" providerId="ADAL" clId="{A8D8FCC4-9AF5-44CC-973B-0DC331DE3757}" dt="2024-09-16T08:19:30.644" v="1554" actId="27614"/>
        <pc:sldMkLst>
          <pc:docMk/>
          <pc:sldMk cId="3233747587" sldId="2147375601"/>
        </pc:sldMkLst>
        <pc:spChg chg="mod">
          <ac:chgData name="Sathe, Anshul S SBOBNG-PTIV/RA" userId="dab23bb9-036c-4bec-b836-4f0af9c9f5f1" providerId="ADAL" clId="{A8D8FCC4-9AF5-44CC-973B-0DC331DE3757}" dt="2024-09-16T08:08:51.915" v="645" actId="20577"/>
          <ac:spMkLst>
            <pc:docMk/>
            <pc:sldMk cId="3233747587" sldId="2147375601"/>
            <ac:spMk id="11" creationId="{DE9F1BE0-7910-FA1B-DCE8-56EFD1E4FC09}"/>
          </ac:spMkLst>
        </pc:spChg>
        <pc:picChg chg="add mod">
          <ac:chgData name="Sathe, Anshul S SBOBNG-PTIV/RA" userId="dab23bb9-036c-4bec-b836-4f0af9c9f5f1" providerId="ADAL" clId="{A8D8FCC4-9AF5-44CC-973B-0DC331DE3757}" dt="2024-09-16T08:19:30.644" v="1554" actId="27614"/>
          <ac:picMkLst>
            <pc:docMk/>
            <pc:sldMk cId="3233747587" sldId="2147375601"/>
            <ac:picMk id="5" creationId="{416F9FBF-B2BF-D941-7EC1-9EC0EA52EE2B}"/>
          </ac:picMkLst>
        </pc:picChg>
        <pc:picChg chg="del">
          <ac:chgData name="Sathe, Anshul S SBOBNG-PTIV/RA" userId="dab23bb9-036c-4bec-b836-4f0af9c9f5f1" providerId="ADAL" clId="{A8D8FCC4-9AF5-44CC-973B-0DC331DE3757}" dt="2024-09-16T08:19:25.323" v="1552" actId="478"/>
          <ac:picMkLst>
            <pc:docMk/>
            <pc:sldMk cId="3233747587" sldId="2147375601"/>
            <ac:picMk id="6" creationId="{A66B22E8-3EF5-F51E-6601-0A23861BEF25}"/>
          </ac:picMkLst>
        </pc:picChg>
      </pc:sldChg>
      <pc:sldChg chg="addSp delSp modSp mod">
        <pc:chgData name="Sathe, Anshul S SBOBNG-PTIV/RA" userId="dab23bb9-036c-4bec-b836-4f0af9c9f5f1" providerId="ADAL" clId="{A8D8FCC4-9AF5-44CC-973B-0DC331DE3757}" dt="2024-09-16T08:20:23.172" v="1560" actId="1076"/>
        <pc:sldMkLst>
          <pc:docMk/>
          <pc:sldMk cId="3971512377" sldId="2147375603"/>
        </pc:sldMkLst>
        <pc:spChg chg="mod">
          <ac:chgData name="Sathe, Anshul S SBOBNG-PTIV/RA" userId="dab23bb9-036c-4bec-b836-4f0af9c9f5f1" providerId="ADAL" clId="{A8D8FCC4-9AF5-44CC-973B-0DC331DE3757}" dt="2024-09-16T08:11:35.946" v="1000" actId="20577"/>
          <ac:spMkLst>
            <pc:docMk/>
            <pc:sldMk cId="3971512377" sldId="2147375603"/>
            <ac:spMk id="11" creationId="{DE9F1BE0-7910-FA1B-DCE8-56EFD1E4FC09}"/>
          </ac:spMkLst>
        </pc:spChg>
        <pc:picChg chg="add mod">
          <ac:chgData name="Sathe, Anshul S SBOBNG-PTIV/RA" userId="dab23bb9-036c-4bec-b836-4f0af9c9f5f1" providerId="ADAL" clId="{A8D8FCC4-9AF5-44CC-973B-0DC331DE3757}" dt="2024-09-16T08:20:23.172" v="1560" actId="1076"/>
          <ac:picMkLst>
            <pc:docMk/>
            <pc:sldMk cId="3971512377" sldId="2147375603"/>
            <ac:picMk id="6" creationId="{2BFC80EA-65A5-65A0-C254-93EC27D496EF}"/>
          </ac:picMkLst>
        </pc:picChg>
        <pc:picChg chg="del">
          <ac:chgData name="Sathe, Anshul S SBOBNG-PTIV/RA" userId="dab23bb9-036c-4bec-b836-4f0af9c9f5f1" providerId="ADAL" clId="{A8D8FCC4-9AF5-44CC-973B-0DC331DE3757}" dt="2024-09-16T08:20:14.501" v="1556" actId="478"/>
          <ac:picMkLst>
            <pc:docMk/>
            <pc:sldMk cId="3971512377" sldId="2147375603"/>
            <ac:picMk id="15" creationId="{1A6AFAB0-E730-E70B-9E3E-6EACA7062E83}"/>
          </ac:picMkLst>
        </pc:picChg>
      </pc:sldChg>
      <pc:sldChg chg="modSp mod">
        <pc:chgData name="Sathe, Anshul S SBOBNG-PTIV/RA" userId="dab23bb9-036c-4bec-b836-4f0af9c9f5f1" providerId="ADAL" clId="{A8D8FCC4-9AF5-44CC-973B-0DC331DE3757}" dt="2024-09-16T08:14:31.828" v="1200" actId="20577"/>
        <pc:sldMkLst>
          <pc:docMk/>
          <pc:sldMk cId="3179805674" sldId="2147375604"/>
        </pc:sldMkLst>
        <pc:spChg chg="mod">
          <ac:chgData name="Sathe, Anshul S SBOBNG-PTIV/RA" userId="dab23bb9-036c-4bec-b836-4f0af9c9f5f1" providerId="ADAL" clId="{A8D8FCC4-9AF5-44CC-973B-0DC331DE3757}" dt="2024-09-16T08:14:31.828" v="1200" actId="20577"/>
          <ac:spMkLst>
            <pc:docMk/>
            <pc:sldMk cId="3179805674" sldId="2147375604"/>
            <ac:spMk id="6" creationId="{0A351800-C756-8B0C-5F74-6C126AEE92F2}"/>
          </ac:spMkLst>
        </pc:spChg>
      </pc:sldChg>
      <pc:sldChg chg="addSp delSp modSp mod">
        <pc:chgData name="Sathe, Anshul S SBOBNG-PTIV/RA" userId="dab23bb9-036c-4bec-b836-4f0af9c9f5f1" providerId="ADAL" clId="{A8D8FCC4-9AF5-44CC-973B-0DC331DE3757}" dt="2024-09-16T08:22:08.839" v="1566" actId="1076"/>
        <pc:sldMkLst>
          <pc:docMk/>
          <pc:sldMk cId="86366928" sldId="2147375605"/>
        </pc:sldMkLst>
        <pc:spChg chg="mod">
          <ac:chgData name="Sathe, Anshul S SBOBNG-PTIV/RA" userId="dab23bb9-036c-4bec-b836-4f0af9c9f5f1" providerId="ADAL" clId="{A8D8FCC4-9AF5-44CC-973B-0DC331DE3757}" dt="2024-09-16T08:14:42.961" v="1242" actId="20577"/>
          <ac:spMkLst>
            <pc:docMk/>
            <pc:sldMk cId="86366928" sldId="2147375605"/>
            <ac:spMk id="11" creationId="{DE9F1BE0-7910-FA1B-DCE8-56EFD1E4FC09}"/>
          </ac:spMkLst>
        </pc:spChg>
        <pc:picChg chg="del">
          <ac:chgData name="Sathe, Anshul S SBOBNG-PTIV/RA" userId="dab23bb9-036c-4bec-b836-4f0af9c9f5f1" providerId="ADAL" clId="{A8D8FCC4-9AF5-44CC-973B-0DC331DE3757}" dt="2024-09-16T08:22:06.372" v="1563" actId="478"/>
          <ac:picMkLst>
            <pc:docMk/>
            <pc:sldMk cId="86366928" sldId="2147375605"/>
            <ac:picMk id="6" creationId="{BD5F0A0B-9A5B-5441-51E2-6A692D168312}"/>
          </ac:picMkLst>
        </pc:picChg>
        <pc:picChg chg="add mod">
          <ac:chgData name="Sathe, Anshul S SBOBNG-PTIV/RA" userId="dab23bb9-036c-4bec-b836-4f0af9c9f5f1" providerId="ADAL" clId="{A8D8FCC4-9AF5-44CC-973B-0DC331DE3757}" dt="2024-09-16T08:22:08.839" v="1566" actId="1076"/>
          <ac:picMkLst>
            <pc:docMk/>
            <pc:sldMk cId="86366928" sldId="2147375605"/>
            <ac:picMk id="8" creationId="{530AB423-CF9F-5747-6E0D-8BA9EA679667}"/>
          </ac:picMkLst>
        </pc:picChg>
      </pc:sldChg>
      <pc:sldChg chg="modSp mod">
        <pc:chgData name="Sathe, Anshul S SBOBNG-PTIV/RA" userId="dab23bb9-036c-4bec-b836-4f0af9c9f5f1" providerId="ADAL" clId="{A8D8FCC4-9AF5-44CC-973B-0DC331DE3757}" dt="2024-09-16T08:09:24.714" v="706" actId="20577"/>
        <pc:sldMkLst>
          <pc:docMk/>
          <pc:sldMk cId="2340944189" sldId="2147375607"/>
        </pc:sldMkLst>
        <pc:spChg chg="mod">
          <ac:chgData name="Sathe, Anshul S SBOBNG-PTIV/RA" userId="dab23bb9-036c-4bec-b836-4f0af9c9f5f1" providerId="ADAL" clId="{A8D8FCC4-9AF5-44CC-973B-0DC331DE3757}" dt="2024-09-16T08:09:24.714" v="706" actId="20577"/>
          <ac:spMkLst>
            <pc:docMk/>
            <pc:sldMk cId="2340944189" sldId="2147375607"/>
            <ac:spMk id="11" creationId="{DE9F1BE0-7910-FA1B-DCE8-56EFD1E4FC09}"/>
          </ac:spMkLst>
        </pc:spChg>
      </pc:sldChg>
      <pc:sldChg chg="modSp mod">
        <pc:chgData name="Sathe, Anshul S SBOBNG-PTIV/RA" userId="dab23bb9-036c-4bec-b836-4f0af9c9f5f1" providerId="ADAL" clId="{A8D8FCC4-9AF5-44CC-973B-0DC331DE3757}" dt="2024-09-16T08:10:24.338" v="765" actId="20577"/>
        <pc:sldMkLst>
          <pc:docMk/>
          <pc:sldMk cId="3159148252" sldId="2147375608"/>
        </pc:sldMkLst>
        <pc:spChg chg="mod">
          <ac:chgData name="Sathe, Anshul S SBOBNG-PTIV/RA" userId="dab23bb9-036c-4bec-b836-4f0af9c9f5f1" providerId="ADAL" clId="{A8D8FCC4-9AF5-44CC-973B-0DC331DE3757}" dt="2024-09-16T08:10:24.338" v="765" actId="20577"/>
          <ac:spMkLst>
            <pc:docMk/>
            <pc:sldMk cId="3159148252" sldId="2147375608"/>
            <ac:spMk id="11" creationId="{DE9F1BE0-7910-FA1B-DCE8-56EFD1E4FC09}"/>
          </ac:spMkLst>
        </pc:spChg>
      </pc:sldChg>
      <pc:sldChg chg="modSp mod">
        <pc:chgData name="Sathe, Anshul S SBOBNG-PTIV/RA" userId="dab23bb9-036c-4bec-b836-4f0af9c9f5f1" providerId="ADAL" clId="{A8D8FCC4-9AF5-44CC-973B-0DC331DE3757}" dt="2024-09-16T08:10:12.661" v="761" actId="20577"/>
        <pc:sldMkLst>
          <pc:docMk/>
          <pc:sldMk cId="3070204084" sldId="2147375609"/>
        </pc:sldMkLst>
        <pc:spChg chg="mod">
          <ac:chgData name="Sathe, Anshul S SBOBNG-PTIV/RA" userId="dab23bb9-036c-4bec-b836-4f0af9c9f5f1" providerId="ADAL" clId="{A8D8FCC4-9AF5-44CC-973B-0DC331DE3757}" dt="2024-09-16T08:10:12.661" v="761" actId="20577"/>
          <ac:spMkLst>
            <pc:docMk/>
            <pc:sldMk cId="3070204084" sldId="2147375609"/>
            <ac:spMk id="11" creationId="{DE9F1BE0-7910-FA1B-DCE8-56EFD1E4FC09}"/>
          </ac:spMkLst>
        </pc:spChg>
      </pc:sldChg>
      <pc:sldChg chg="modSp mod">
        <pc:chgData name="Sathe, Anshul S SBOBNG-PTIV/RA" userId="dab23bb9-036c-4bec-b836-4f0af9c9f5f1" providerId="ADAL" clId="{A8D8FCC4-9AF5-44CC-973B-0DC331DE3757}" dt="2024-09-16T08:09:42.569" v="722" actId="20577"/>
        <pc:sldMkLst>
          <pc:docMk/>
          <pc:sldMk cId="3754613224" sldId="2147375611"/>
        </pc:sldMkLst>
        <pc:spChg chg="mod">
          <ac:chgData name="Sathe, Anshul S SBOBNG-PTIV/RA" userId="dab23bb9-036c-4bec-b836-4f0af9c9f5f1" providerId="ADAL" clId="{A8D8FCC4-9AF5-44CC-973B-0DC331DE3757}" dt="2024-09-16T08:09:42.569" v="722" actId="20577"/>
          <ac:spMkLst>
            <pc:docMk/>
            <pc:sldMk cId="3754613224" sldId="2147375611"/>
            <ac:spMk id="19" creationId="{A3E2F4D1-4417-E244-3DB9-A6FF5866A342}"/>
          </ac:spMkLst>
        </pc:spChg>
      </pc:sldChg>
      <pc:sldChg chg="modSp mod">
        <pc:chgData name="Sathe, Anshul S SBOBNG-PTIV/RA" userId="dab23bb9-036c-4bec-b836-4f0af9c9f5f1" providerId="ADAL" clId="{A8D8FCC4-9AF5-44CC-973B-0DC331DE3757}" dt="2024-09-16T08:15:50.752" v="1452" actId="20577"/>
        <pc:sldMkLst>
          <pc:docMk/>
          <pc:sldMk cId="1148838763" sldId="2147375613"/>
        </pc:sldMkLst>
        <pc:spChg chg="mod">
          <ac:chgData name="Sathe, Anshul S SBOBNG-PTIV/RA" userId="dab23bb9-036c-4bec-b836-4f0af9c9f5f1" providerId="ADAL" clId="{A8D8FCC4-9AF5-44CC-973B-0DC331DE3757}" dt="2024-09-16T08:15:50.752" v="1452" actId="20577"/>
          <ac:spMkLst>
            <pc:docMk/>
            <pc:sldMk cId="1148838763" sldId="2147375613"/>
            <ac:spMk id="11" creationId="{8CC1343B-2E39-FEFF-8FF6-46822F18B432}"/>
          </ac:spMkLst>
        </pc:spChg>
      </pc:sldChg>
      <pc:sldChg chg="modSp mod">
        <pc:chgData name="Sathe, Anshul S SBOBNG-PTIV/RA" userId="dab23bb9-036c-4bec-b836-4f0af9c9f5f1" providerId="ADAL" clId="{A8D8FCC4-9AF5-44CC-973B-0DC331DE3757}" dt="2024-09-16T08:16:29.688" v="1540" actId="20577"/>
        <pc:sldMkLst>
          <pc:docMk/>
          <pc:sldMk cId="3865850111" sldId="2147375614"/>
        </pc:sldMkLst>
        <pc:spChg chg="mod">
          <ac:chgData name="Sathe, Anshul S SBOBNG-PTIV/RA" userId="dab23bb9-036c-4bec-b836-4f0af9c9f5f1" providerId="ADAL" clId="{A8D8FCC4-9AF5-44CC-973B-0DC331DE3757}" dt="2024-09-16T08:16:29.688" v="1540" actId="20577"/>
          <ac:spMkLst>
            <pc:docMk/>
            <pc:sldMk cId="3865850111" sldId="2147375614"/>
            <ac:spMk id="6" creationId="{AC2F88D2-81D4-FAD4-568E-A3F495B0641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nshul Sath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14-Sept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dirty="0"/>
              <a:t>Same as AWS but using Azure services.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A large white cloud in the sky&#10;&#10;Description automatically generated">
            <a:extLst>
              <a:ext uri="{FF2B5EF4-FFF2-40B4-BE49-F238E27FC236}">
                <a16:creationId xmlns:a16="http://schemas.microsoft.com/office/drawing/2014/main" id="{530AB423-CF9F-5747-6E0D-8BA9EA6796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571" y="2286203"/>
            <a:ext cx="4839162" cy="322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No problem so far. Worked on ServiceNow with eas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9" name="Picture 8" descr="A cartoon frog wearing sunglasses and a hand gesture&#10;&#10;Description automatically generated">
            <a:extLst>
              <a:ext uri="{FF2B5EF4-FFF2-40B4-BE49-F238E27FC236}">
                <a16:creationId xmlns:a16="http://schemas.microsoft.com/office/drawing/2014/main" id="{0FB36D52-6C30-E8C0-9414-3B2712B20B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3" b="17867"/>
          <a:stretch/>
        </p:blipFill>
        <p:spPr>
          <a:xfrm>
            <a:off x="6799692" y="2387982"/>
            <a:ext cx="4552920" cy="302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No problem so far. Learnt the importance of AW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yellow emoji giving thumbs up&#10;&#10;Description automatically generated">
            <a:extLst>
              <a:ext uri="{FF2B5EF4-FFF2-40B4-BE49-F238E27FC236}">
                <a16:creationId xmlns:a16="http://schemas.microsoft.com/office/drawing/2014/main" id="{EDF93031-9526-9BDB-E635-024C24C45AB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9889" y="2455618"/>
            <a:ext cx="4786630" cy="288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AWS, Azure and docker concepts were thoroughly collaborated and revised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group of people hugging&#10;&#10;Description automatically generated">
            <a:extLst>
              <a:ext uri="{FF2B5EF4-FFF2-40B4-BE49-F238E27FC236}">
                <a16:creationId xmlns:a16="http://schemas.microsoft.com/office/drawing/2014/main" id="{43A50472-3685-079A-F664-805D04C661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188" y="2232839"/>
            <a:ext cx="5007928" cy="333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 these skill in practically in real life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rking on AWS and Azure problems.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als achieved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/>
              <a:t>Service now will help us a lot in our professional journey in order to get new technology and stay up to date</a:t>
            </a:r>
            <a:r>
              <a:rPr lang="en-US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AWS and Azure help us in scalability of an organization.</a:t>
            </a:r>
            <a:endParaRPr lang="en-GB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ollage of images of a person and a child&#10;&#10;Description automatically generated">
            <a:extLst>
              <a:ext uri="{FF2B5EF4-FFF2-40B4-BE49-F238E27FC236}">
                <a16:creationId xmlns:a16="http://schemas.microsoft.com/office/drawing/2014/main" id="{FA1725BE-8529-2DE6-425D-CCAAE261EF0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043" y="2761883"/>
            <a:ext cx="4960219" cy="2480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400" dirty="0"/>
              <a:t>We learnt the importance of Azure, AWS and Docker.</a:t>
            </a:r>
          </a:p>
          <a:p>
            <a:pPr>
              <a:lnSpc>
                <a:spcPct val="100000"/>
              </a:lnSpc>
            </a:pPr>
            <a:endParaRPr lang="en-US" sz="2400" dirty="0"/>
          </a:p>
          <a:p>
            <a:pPr>
              <a:lnSpc>
                <a:spcPct val="100000"/>
              </a:lnSpc>
            </a:pPr>
            <a:r>
              <a:rPr lang="en-US" sz="2400" dirty="0"/>
              <a:t>Started working on ServiceNow and host tickets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“There’s no job too immense when you got confidence.”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		- Elvis Presley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artoon frog with a sad face&#10;&#10;Description automatically generated">
            <a:extLst>
              <a:ext uri="{FF2B5EF4-FFF2-40B4-BE49-F238E27FC236}">
                <a16:creationId xmlns:a16="http://schemas.microsoft.com/office/drawing/2014/main" id="{D45259FB-BC34-6093-4773-083962D483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454" y="1953159"/>
            <a:ext cx="3833397" cy="3833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ITL and ticket raising</a:t>
            </a:r>
          </a:p>
          <a:p>
            <a:r>
              <a:rPr lang="en-US" sz="2400" dirty="0"/>
              <a:t>Incidents </a:t>
            </a:r>
          </a:p>
          <a:p>
            <a:r>
              <a:rPr lang="en-US" sz="2400" dirty="0"/>
              <a:t>Downtime</a:t>
            </a:r>
          </a:p>
          <a:p>
            <a:r>
              <a:rPr lang="en-US" sz="2400" dirty="0"/>
              <a:t>ServiceNow </a:t>
            </a:r>
          </a:p>
          <a:p>
            <a:r>
              <a:rPr lang="en-US" sz="2400" dirty="0"/>
              <a:t>Admin and IT Service accounts</a:t>
            </a:r>
          </a:p>
          <a:p>
            <a:r>
              <a:rPr lang="en-US" sz="2400" dirty="0"/>
              <a:t>Mitigation plan</a:t>
            </a:r>
          </a:p>
          <a:p>
            <a:r>
              <a:rPr lang="en-US" sz="2400" dirty="0"/>
              <a:t>catalogu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red square with white text&#10;&#10;Description automatically generated">
            <a:extLst>
              <a:ext uri="{FF2B5EF4-FFF2-40B4-BE49-F238E27FC236}">
                <a16:creationId xmlns:a16="http://schemas.microsoft.com/office/drawing/2014/main" id="{E8B2A0AC-44EE-9A44-2452-11EE342747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280" y="2263353"/>
            <a:ext cx="3271520" cy="327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WS and history</a:t>
            </a:r>
          </a:p>
          <a:p>
            <a:r>
              <a:rPr lang="en-US" sz="2000" dirty="0"/>
              <a:t>EC2</a:t>
            </a:r>
          </a:p>
          <a:p>
            <a:r>
              <a:rPr lang="en-US" sz="2000" dirty="0"/>
              <a:t>Network connections in EC2</a:t>
            </a:r>
          </a:p>
          <a:p>
            <a:r>
              <a:rPr lang="en-US" sz="2000" dirty="0"/>
              <a:t>S3 and access permissions in S3</a:t>
            </a:r>
          </a:p>
          <a:p>
            <a:r>
              <a:rPr lang="en-US" sz="2000" dirty="0"/>
              <a:t>Hosting Virtual machine </a:t>
            </a:r>
          </a:p>
          <a:p>
            <a:r>
              <a:rPr lang="en-US" sz="2000" dirty="0"/>
              <a:t>Accessing virtual machines from SSH and RDP</a:t>
            </a:r>
          </a:p>
          <a:p>
            <a:r>
              <a:rPr lang="en-US" sz="2000" dirty="0"/>
              <a:t>EB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logo of a cloud&#10;&#10;Description automatically generated">
            <a:extLst>
              <a:ext uri="{FF2B5EF4-FFF2-40B4-BE49-F238E27FC236}">
                <a16:creationId xmlns:a16="http://schemas.microsoft.com/office/drawing/2014/main" id="{A752031F-D4F7-7F44-B6CE-0B3EA223CA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895" y="2208425"/>
            <a:ext cx="4514850" cy="338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zure</a:t>
            </a:r>
          </a:p>
          <a:p>
            <a:r>
              <a:rPr lang="en-US" sz="2000" dirty="0"/>
              <a:t>Comparison between azure and AWS</a:t>
            </a:r>
          </a:p>
          <a:p>
            <a:r>
              <a:rPr lang="en-US" sz="2000" dirty="0"/>
              <a:t>Azure images</a:t>
            </a:r>
          </a:p>
          <a:p>
            <a:r>
              <a:rPr lang="en-US" sz="2000" dirty="0"/>
              <a:t>Azure storage</a:t>
            </a:r>
          </a:p>
          <a:p>
            <a:r>
              <a:rPr lang="en-US" sz="2000" dirty="0"/>
              <a:t>Azure UI and UX Specifications</a:t>
            </a:r>
          </a:p>
          <a:p>
            <a:r>
              <a:rPr lang="en-US" sz="2000" dirty="0"/>
              <a:t>Hosting VMs in Azure and accessing VM in VM</a:t>
            </a:r>
          </a:p>
          <a:p>
            <a:r>
              <a:rPr lang="en-US" sz="2000" dirty="0"/>
              <a:t>Offline package downloads</a:t>
            </a:r>
          </a:p>
          <a:p>
            <a:r>
              <a:rPr lang="en-US" sz="2000" dirty="0"/>
              <a:t>Introduction to Docker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blue triangle with a white background&#10;&#10;Description automatically generated">
            <a:extLst>
              <a:ext uri="{FF2B5EF4-FFF2-40B4-BE49-F238E27FC236}">
                <a16:creationId xmlns:a16="http://schemas.microsoft.com/office/drawing/2014/main" id="{416F9FBF-B2BF-D941-7EC1-9EC0EA52EE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727" y="2527935"/>
            <a:ext cx="4514850" cy="253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ServiceNow tickets can be helpful in Shell when we must request for new technologies or office related goodies.</a:t>
            </a:r>
          </a:p>
          <a:p>
            <a:pPr marL="0" indent="0">
              <a:buNone/>
            </a:pPr>
            <a:r>
              <a:rPr lang="en-US" sz="2400" dirty="0"/>
              <a:t>Also helps employees in changing defective object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person sitting at a desk with a computer and people around him&#10;&#10;Description automatically generated">
            <a:extLst>
              <a:ext uri="{FF2B5EF4-FFF2-40B4-BE49-F238E27FC236}">
                <a16:creationId xmlns:a16="http://schemas.microsoft.com/office/drawing/2014/main" id="{2BFC80EA-65A5-65A0-C254-93EC27D496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255" y="2474966"/>
            <a:ext cx="3619547" cy="2848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A351800-C756-8B0C-5F74-6C126AEE92F2}"/>
              </a:ext>
            </a:extLst>
          </p:cNvPr>
          <p:cNvSpPr txBox="1"/>
          <p:nvPr/>
        </p:nvSpPr>
        <p:spPr>
          <a:xfrm>
            <a:off x="593744" y="2006287"/>
            <a:ext cx="535070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AWS cloud platform can help an organization in organizing their apps and data.</a:t>
            </a:r>
          </a:p>
          <a:p>
            <a:r>
              <a:rPr lang="en-GB" sz="2400" dirty="0"/>
              <a:t>Solution architects and cloud engineers can help with scalability of an organization.</a:t>
            </a:r>
          </a:p>
        </p:txBody>
      </p:sp>
      <p:pic>
        <p:nvPicPr>
          <p:cNvPr id="9" name="Picture 8" descr="A person holding a tablet&#10;&#10;Description automatically generated">
            <a:extLst>
              <a:ext uri="{FF2B5EF4-FFF2-40B4-BE49-F238E27FC236}">
                <a16:creationId xmlns:a16="http://schemas.microsoft.com/office/drawing/2014/main" id="{4A557F56-A0BB-D953-95BA-8E96BA6D07E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0495" y="2118840"/>
            <a:ext cx="3560545" cy="356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69</TotalTime>
  <Words>374</Words>
  <Application>Microsoft Office PowerPoint</Application>
  <PresentationFormat>Widescreen</PresentationFormat>
  <Paragraphs>79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athe, Anshul S SBOBNG-PTIV/RA</cp:lastModifiedBy>
  <cp:revision>502</cp:revision>
  <dcterms:created xsi:type="dcterms:W3CDTF">2022-01-18T12:35:56Z</dcterms:created>
  <dcterms:modified xsi:type="dcterms:W3CDTF">2024-09-16T08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